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746" r:id="rId1"/>
    <p:sldMasterId id="2147483713" r:id="rId2"/>
    <p:sldMasterId id="2147483719" r:id="rId3"/>
    <p:sldMasterId id="2147483749" r:id="rId4"/>
    <p:sldMasterId id="2147483760" r:id="rId5"/>
    <p:sldMasterId id="2147483763" r:id="rId6"/>
    <p:sldMasterId id="2147483766" r:id="rId7"/>
    <p:sldMasterId id="2147483769" r:id="rId8"/>
    <p:sldMasterId id="2147483772" r:id="rId9"/>
    <p:sldMasterId id="2147483780" r:id="rId10"/>
  </p:sldMasterIdLst>
  <p:notesMasterIdLst>
    <p:notesMasterId r:id="rId15"/>
  </p:notesMasterIdLst>
  <p:handoutMasterIdLst>
    <p:handoutMasterId r:id="rId16"/>
  </p:handoutMasterIdLst>
  <p:sldIdLst>
    <p:sldId id="2196" r:id="rId11"/>
    <p:sldId id="2193" r:id="rId12"/>
    <p:sldId id="2194" r:id="rId13"/>
    <p:sldId id="2195" r:id="rId14"/>
  </p:sldIdLst>
  <p:sldSz cx="9144000" cy="5143500" type="screen16x9"/>
  <p:notesSz cx="6797675" cy="9872663"/>
  <p:custDataLst>
    <p:tags r:id="rId17"/>
  </p:custDataLst>
  <p:defaultTextStyle>
    <a:defPPr>
      <a:defRPr lang="zh-CN"/>
    </a:defPPr>
    <a:lvl1pPr marL="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6"/>
            <p14:sldId id="2193"/>
            <p14:sldId id="2194"/>
            <p14:sldId id="21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2">
          <p15:clr>
            <a:srgbClr val="A4A3A4"/>
          </p15:clr>
        </p15:guide>
        <p15:guide id="2" pos="2898">
          <p15:clr>
            <a:srgbClr val="A4A3A4"/>
          </p15:clr>
        </p15:guide>
        <p15:guide id="3" orient="horz" pos="16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7" autoAdjust="0"/>
    <p:restoredTop sz="98246" autoAdjust="0"/>
  </p:normalViewPr>
  <p:slideViewPr>
    <p:cSldViewPr>
      <p:cViewPr varScale="1">
        <p:scale>
          <a:sx n="93" d="100"/>
          <a:sy n="93" d="100"/>
        </p:scale>
        <p:origin x="476" y="60"/>
      </p:cViewPr>
      <p:guideLst>
        <p:guide orient="horz" pos="2182"/>
        <p:guide pos="2898"/>
        <p:guide orient="horz" pos="16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712" cy="494029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377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591549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  <a:t>2021/12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8188"/>
            <a:ext cx="6591300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9" y="4689514"/>
            <a:ext cx="5438140" cy="4442698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92493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AE352-81A5-41E6-906E-05AC6B822490}" type="slidenum">
              <a:rPr lang="zh-CN" altLang="en-US" smtClean="0"/>
              <a:t>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91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gi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559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76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1772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85649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998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5495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  <a:lvl2pPr>
              <a:defRPr>
                <a:ea typeface="微软雅黑" pitchFamily="34" charset="-122"/>
              </a:defRPr>
            </a:lvl2pPr>
            <a:lvl3pPr>
              <a:defRPr>
                <a:ea typeface="微软雅黑" pitchFamily="34" charset="-122"/>
              </a:defRPr>
            </a:lvl3pPr>
            <a:lvl4pPr>
              <a:defRPr>
                <a:ea typeface="微软雅黑" pitchFamily="34" charset="-122"/>
              </a:defRPr>
            </a:lvl4pPr>
            <a:lvl5pPr>
              <a:defRPr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1782977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627" indent="-31862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66" indent="-263094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88" indent="-212375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384" indent="-25546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553" indent="-25546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6628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232832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859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26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2602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2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520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63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686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5368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904579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12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475358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9443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70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202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16689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383917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303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19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285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757016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8503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19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19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  <a:pPr defTabSz="914190">
                <a:defRPr/>
              </a:pPr>
              <a:t>‹#›</a:t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880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66169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323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732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161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27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643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6150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11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1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6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oleObject" Target="../embeddings/oleObject6.bin"/><Relationship Id="rId5" Type="http://schemas.openxmlformats.org/officeDocument/2006/relationships/tags" Target="../tags/tag7.xml"/><Relationship Id="rId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11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3.jpeg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605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0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536" tIns="42269" rIns="84536" bIns="4226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黑体" pitchFamily="2" charset="-122"/>
                <a:ea typeface="黑体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 descr="一汽蓝条.png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</a:p>
        </p:txBody>
      </p:sp>
    </p:spTree>
    <p:extLst>
      <p:ext uri="{BB962C8B-B14F-4D97-AF65-F5344CB8AC3E}">
        <p14:creationId xmlns:p14="http://schemas.microsoft.com/office/powerpoint/2010/main" val="24338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2pPr>
      <a:lvl3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3pPr>
      <a:lvl4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4pPr>
      <a:lvl5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5pPr>
      <a:lvl6pPr marL="456531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6pPr>
      <a:lvl7pPr marL="913064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7pPr>
      <a:lvl8pPr marL="1369595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8pPr>
      <a:lvl9pPr marL="1826128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9pPr>
    </p:titleStyle>
    <p:bodyStyle>
      <a:lvl1pPr marL="317036" indent="-317036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384" indent="-263141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0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318" indent="-212412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74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2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216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748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281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813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345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1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64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95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2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6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9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2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5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4177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756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606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7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83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8755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31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  <a:pPr defTabSz="816296"/>
              <a:t>‹#›</a:t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94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945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sldNum="0" hdr="0" ftr="0" dt="0"/>
  <p:txStyles>
    <p:titleStyle>
      <a:lvl1pPr algn="ctr" defTabSz="715609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54" indent="-268354" algn="l" defTabSz="71560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33" indent="-223628" algn="l" defTabSz="715609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512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317" indent="-178902" algn="l" defTabSz="715609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121" indent="-178902" algn="l" defTabSz="715609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926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731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35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340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805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0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41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1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02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82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633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43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3798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8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4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r" defTabSz="846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846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096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5309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831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597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177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7075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807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eaLnBrk="1" hangingPunct="1">
                <a:defRPr/>
              </a:pPr>
              <a:t>‹#›</a:t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190"/>
              <a:endParaRPr lang="zh-CN" altLang="en-US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234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</p:sldLayoutIdLst>
  <p:hf hdr="0" ftr="0" dt="0"/>
  <p:txStyles>
    <p:titleStyle>
      <a:lvl1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2pPr>
      <a:lvl3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3pPr>
      <a:lvl4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4pPr>
      <a:lvl5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5pPr>
      <a:lvl6pPr marL="456440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6pPr>
      <a:lvl7pPr marL="912885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7pPr>
      <a:lvl8pPr marL="1369329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8pPr>
      <a:lvl9pPr marL="1825772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9pPr>
    </p:titleStyle>
    <p:bodyStyle>
      <a:lvl1pPr marL="316974" indent="-316974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250" indent="-263092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2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109" indent="-212373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3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684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4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43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287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730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175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616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4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85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29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72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1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54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97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54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13" b="-1"/>
          <a:stretch>
            <a:fillRect/>
          </a:stretch>
        </p:blipFill>
        <p:spPr bwMode="auto">
          <a:xfrm flipH="1">
            <a:off x="-635" y="-9525"/>
            <a:ext cx="9154160" cy="182499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 txBox="1"/>
          <p:nvPr/>
        </p:nvSpPr>
        <p:spPr>
          <a:xfrm>
            <a:off x="0" y="2146909"/>
            <a:ext cx="9153525" cy="15661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春红旗</a:t>
            </a:r>
            <a:r>
              <a:rPr lang="zh-CN" altLang="en-US" sz="3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小镇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管理有限公司</a:t>
            </a:r>
            <a:endParaRPr lang="en-US" altLang="zh-CN" sz="32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en-US" altLang="zh-CN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名称应聘报告</a:t>
            </a:r>
            <a:endParaRPr lang="zh-CN" altLang="en-US" sz="32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1800979" y="3901925"/>
            <a:ext cx="5328591" cy="7200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聘人：****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1</a:t>
            </a:r>
            <a:r>
              <a:rPr lang="zh-CN" altLang="en-US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489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内容</a:t>
            </a:r>
          </a:p>
        </p:txBody>
      </p:sp>
    </p:spTree>
    <p:extLst>
      <p:ext uri="{BB962C8B-B14F-4D97-AF65-F5344CB8AC3E}">
        <p14:creationId xmlns:p14="http://schemas.microsoft.com/office/powerpoint/2010/main" val="410238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要求</a:t>
            </a:r>
          </a:p>
        </p:txBody>
      </p:sp>
    </p:spTree>
    <p:extLst>
      <p:ext uri="{BB962C8B-B14F-4D97-AF65-F5344CB8AC3E}">
        <p14:creationId xmlns:p14="http://schemas.microsoft.com/office/powerpoint/2010/main" val="269727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itchFamily="34" charset="-122"/>
                <a:ea typeface="微软雅黑" pitchFamily="34" charset="-122"/>
              </a:rPr>
              <a:t>谢  谢</a:t>
            </a:r>
            <a:endParaRPr lang="zh-CN" altLang="en-US" sz="72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9679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黑体" panose="02010609060101010101" pitchFamily="49" charset="-122"/>
            <a:ea typeface="黑体" panose="02010609060101010101" pitchFamily="49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60</TotalTime>
  <Words>107</Words>
  <Application>Microsoft Office PowerPoint</Application>
  <PresentationFormat>全屏显示(16:9)</PresentationFormat>
  <Paragraphs>17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23" baseType="lpstr">
      <vt:lpstr>黑体</vt:lpstr>
      <vt:lpstr>宋体</vt:lpstr>
      <vt:lpstr>Microsoft YaHei</vt:lpstr>
      <vt:lpstr>Microsoft YaHei</vt:lpstr>
      <vt:lpstr>Arial</vt:lpstr>
      <vt:lpstr>Arial Black</vt:lpstr>
      <vt:lpstr>Calibri</vt:lpstr>
      <vt:lpstr>Wingdings</vt:lpstr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hink-cell Slide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huangmj</cp:lastModifiedBy>
  <cp:revision>3568</cp:revision>
  <cp:lastPrinted>2021-12-16T07:12:54Z</cp:lastPrinted>
  <dcterms:created xsi:type="dcterms:W3CDTF">2016-10-26T06:56:00Z</dcterms:created>
  <dcterms:modified xsi:type="dcterms:W3CDTF">2021-12-16T07:1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135</vt:lpwstr>
  </property>
</Properties>
</file>